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6" r:id="rId1"/>
  </p:sldMasterIdLst>
  <p:notesMasterIdLst>
    <p:notesMasterId r:id="rId3"/>
  </p:notesMasterIdLst>
  <p:handoutMasterIdLst>
    <p:handoutMasterId r:id="rId4"/>
  </p:handoutMasterIdLst>
  <p:sldIdLst>
    <p:sldId id="376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3784" userDrawn="1">
          <p15:clr>
            <a:srgbClr val="A4A3A4"/>
          </p15:clr>
        </p15:guide>
        <p15:guide id="4" orient="horz" pos="944" userDrawn="1">
          <p15:clr>
            <a:srgbClr val="A4A3A4"/>
          </p15:clr>
        </p15:guide>
        <p15:guide id="5" pos="414" userDrawn="1">
          <p15:clr>
            <a:srgbClr val="A4A3A4"/>
          </p15:clr>
        </p15:guide>
        <p15:guide id="6" pos="5459" userDrawn="1">
          <p15:clr>
            <a:srgbClr val="A4A3A4"/>
          </p15:clr>
        </p15:guide>
        <p15:guide id="7" pos="2963" userDrawn="1">
          <p15:clr>
            <a:srgbClr val="A4A3A4"/>
          </p15:clr>
        </p15:guide>
        <p15:guide id="8" orient="horz" pos="3264" userDrawn="1">
          <p15:clr>
            <a:srgbClr val="A4A3A4"/>
          </p15:clr>
        </p15:guide>
        <p15:guide id="9" orient="horz" pos="1253" userDrawn="1">
          <p15:clr>
            <a:srgbClr val="A4A3A4"/>
          </p15:clr>
        </p15:guide>
        <p15:guide id="10" pos="4464" userDrawn="1">
          <p15:clr>
            <a:srgbClr val="A4A3A4"/>
          </p15:clr>
        </p15:guide>
        <p15:guide id="11" pos="3401" userDrawn="1">
          <p15:clr>
            <a:srgbClr val="A4A3A4"/>
          </p15:clr>
        </p15:guide>
        <p15:guide id="12" pos="417" userDrawn="1">
          <p15:clr>
            <a:srgbClr val="A4A3A4"/>
          </p15:clr>
        </p15:guide>
        <p15:guide id="13" pos="591" userDrawn="1">
          <p15:clr>
            <a:srgbClr val="A4A3A4"/>
          </p15:clr>
        </p15:guide>
        <p15:guide id="14" pos="544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E64B00"/>
    <a:srgbClr val="FFDF7F"/>
    <a:srgbClr val="FFFFFF"/>
    <a:srgbClr val="FF9900"/>
    <a:srgbClr val="E7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374" autoAdjust="0"/>
    <p:restoredTop sz="95280" autoAdjust="0"/>
  </p:normalViewPr>
  <p:slideViewPr>
    <p:cSldViewPr snapToGrid="0" showGuides="1">
      <p:cViewPr varScale="1">
        <p:scale>
          <a:sx n="110" d="100"/>
          <a:sy n="110" d="100"/>
        </p:scale>
        <p:origin x="1830" y="114"/>
      </p:cViewPr>
      <p:guideLst>
        <p:guide orient="horz" pos="2160"/>
        <p:guide pos="2880"/>
        <p:guide orient="horz" pos="3784"/>
        <p:guide orient="horz" pos="944"/>
        <p:guide pos="414"/>
        <p:guide pos="5459"/>
        <p:guide pos="2963"/>
        <p:guide orient="horz" pos="3264"/>
        <p:guide orient="horz" pos="1253"/>
        <p:guide pos="4464"/>
        <p:guide pos="3401"/>
        <p:guide pos="417"/>
        <p:guide pos="591"/>
        <p:guide pos="5442"/>
      </p:guideLst>
    </p:cSldViewPr>
  </p:slideViewPr>
  <p:outlineViewPr>
    <p:cViewPr>
      <p:scale>
        <a:sx n="33" d="100"/>
        <a:sy n="33" d="100"/>
      </p:scale>
      <p:origin x="0" y="-25277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6/03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6/03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550" y="842963"/>
            <a:ext cx="4152900" cy="3114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273169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3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310334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kt 84" hidden="1">
            <a:extLst>
              <a:ext uri="{FF2B5EF4-FFF2-40B4-BE49-F238E27FC236}">
                <a16:creationId xmlns:a16="http://schemas.microsoft.com/office/drawing/2014/main" id="{53237C02-D8E7-4C9D-A9AB-C935D3E694FD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6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026" name="Objekt 84" hidden="1">
                        <a:extLst>
                          <a:ext uri="{FF2B5EF4-FFF2-40B4-BE49-F238E27FC236}">
                            <a16:creationId xmlns:a16="http://schemas.microsoft.com/office/drawing/2014/main" id="{53237C02-D8E7-4C9D-A9AB-C935D3E694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elplatzhalter 1">
            <a:extLst>
              <a:ext uri="{FF2B5EF4-FFF2-40B4-BE49-F238E27FC236}">
                <a16:creationId xmlns:a16="http://schemas.microsoft.com/office/drawing/2014/main" id="{A2235726-AE76-45F4-BE46-9738A32743CA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1028" name="Textplatzhalter 2">
            <a:extLst>
              <a:ext uri="{FF2B5EF4-FFF2-40B4-BE49-F238E27FC236}">
                <a16:creationId xmlns:a16="http://schemas.microsoft.com/office/drawing/2014/main" id="{6FE2309C-8D81-43C3-A085-42A0B3AF7D0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B63174A3-CFC9-46EE-9395-3D308967C173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 March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6D3032E0-635E-4A3F-B457-330E5A29BDB0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D3B48D69-34C4-4A99-BF76-BDD6DBE56BEE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1031" name="Group 7">
            <a:extLst>
              <a:ext uri="{FF2B5EF4-FFF2-40B4-BE49-F238E27FC236}">
                <a16:creationId xmlns:a16="http://schemas.microsoft.com/office/drawing/2014/main" id="{6E1FE47B-AE08-4085-A66B-06C06BF268DB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1034" name="Freeform 8">
              <a:extLst>
                <a:ext uri="{FF2B5EF4-FFF2-40B4-BE49-F238E27FC236}">
                  <a16:creationId xmlns:a16="http://schemas.microsoft.com/office/drawing/2014/main" id="{7490D156-6ECB-4057-9C32-A935F6383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35" name="Freeform 9">
              <a:extLst>
                <a:ext uri="{FF2B5EF4-FFF2-40B4-BE49-F238E27FC236}">
                  <a16:creationId xmlns:a16="http://schemas.microsoft.com/office/drawing/2014/main" id="{953D35AA-C602-4B69-A604-A4CCBA65CB1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869841757 w 501"/>
                <a:gd name="T1" fmla="*/ 1659837019 h 429"/>
                <a:gd name="T2" fmla="*/ 1764144785 w 501"/>
                <a:gd name="T3" fmla="*/ 1521425573 h 429"/>
                <a:gd name="T4" fmla="*/ 1725057837 w 501"/>
                <a:gd name="T5" fmla="*/ 1469247882 h 429"/>
                <a:gd name="T6" fmla="*/ 1499934531 w 501"/>
                <a:gd name="T7" fmla="*/ 1361880031 h 429"/>
                <a:gd name="T8" fmla="*/ 1208442835 w 501"/>
                <a:gd name="T9" fmla="*/ 1659837019 h 429"/>
                <a:gd name="T10" fmla="*/ 1499934531 w 501"/>
                <a:gd name="T11" fmla="*/ 1951342137 h 429"/>
                <a:gd name="T12" fmla="*/ 1725057837 w 501"/>
                <a:gd name="T13" fmla="*/ 1845836989 h 429"/>
                <a:gd name="T14" fmla="*/ 1764144785 w 501"/>
                <a:gd name="T15" fmla="*/ 1792865048 h 429"/>
                <a:gd name="T16" fmla="*/ 1869841757 w 501"/>
                <a:gd name="T17" fmla="*/ 1659837019 h 429"/>
                <a:gd name="T18" fmla="*/ 844430463 w 501"/>
                <a:gd name="T19" fmla="*/ 1653081009 h 429"/>
                <a:gd name="T20" fmla="*/ 1499934531 w 501"/>
                <a:gd name="T21" fmla="*/ 995327786 h 429"/>
                <a:gd name="T22" fmla="*/ 2000652606 w 501"/>
                <a:gd name="T23" fmla="*/ 1229070891 h 429"/>
                <a:gd name="T24" fmla="*/ 2004353788 w 501"/>
                <a:gd name="T25" fmla="*/ 1240249847 h 429"/>
                <a:gd name="T26" fmla="*/ 2015706786 w 501"/>
                <a:gd name="T27" fmla="*/ 1235513344 h 429"/>
                <a:gd name="T28" fmla="*/ 1300958765 w 501"/>
                <a:gd name="T29" fmla="*/ 0 h 429"/>
                <a:gd name="T30" fmla="*/ 0 w 501"/>
                <a:gd name="T31" fmla="*/ 2147483646 h 429"/>
                <a:gd name="T32" fmla="*/ 1270102821 w 501"/>
                <a:gd name="T33" fmla="*/ 2147483646 h 429"/>
                <a:gd name="T34" fmla="*/ 1276833177 w 501"/>
                <a:gd name="T35" fmla="*/ 2147483646 h 429"/>
                <a:gd name="T36" fmla="*/ 1145170959 w 501"/>
                <a:gd name="T37" fmla="*/ 2147483646 h 429"/>
                <a:gd name="T38" fmla="*/ 844430463 w 501"/>
                <a:gd name="T39" fmla="*/ 1653081009 h 429"/>
                <a:gd name="T40" fmla="*/ 2147483646 w 501"/>
                <a:gd name="T41" fmla="*/ 2147483646 h 429"/>
                <a:gd name="T42" fmla="*/ 2147483646 w 501"/>
                <a:gd name="T43" fmla="*/ 2147483646 h 429"/>
                <a:gd name="T44" fmla="*/ 2107862744 w 501"/>
                <a:gd name="T45" fmla="*/ 1944597706 h 429"/>
                <a:gd name="T46" fmla="*/ 1978183592 w 501"/>
                <a:gd name="T47" fmla="*/ 2110879886 h 429"/>
                <a:gd name="T48" fmla="*/ 1733656531 w 501"/>
                <a:gd name="T49" fmla="*/ 2147483646 h 429"/>
                <a:gd name="T50" fmla="*/ 1733656531 w 501"/>
                <a:gd name="T51" fmla="*/ 2147483646 h 429"/>
                <a:gd name="T52" fmla="*/ 2147483646 w 501"/>
                <a:gd name="T53" fmla="*/ 2147483646 h 429"/>
                <a:gd name="T54" fmla="*/ 2147483646 w 501"/>
                <a:gd name="T55" fmla="*/ 2147483646 h 429"/>
                <a:gd name="T56" fmla="*/ 2147483646 w 501"/>
                <a:gd name="T57" fmla="*/ 2147483646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36" name="Freeform 10">
              <a:extLst>
                <a:ext uri="{FF2B5EF4-FFF2-40B4-BE49-F238E27FC236}">
                  <a16:creationId xmlns:a16="http://schemas.microsoft.com/office/drawing/2014/main" id="{BB852431-5053-4CB9-BD3B-B3CFC9A75F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01767805 w 937"/>
                <a:gd name="T1" fmla="*/ 711138951 h 326"/>
                <a:gd name="T2" fmla="*/ 410687662 w 937"/>
                <a:gd name="T3" fmla="*/ 465599188 h 326"/>
                <a:gd name="T4" fmla="*/ 658110446 w 937"/>
                <a:gd name="T5" fmla="*/ 276863184 h 326"/>
                <a:gd name="T6" fmla="*/ 978929204 w 937"/>
                <a:gd name="T7" fmla="*/ 522757726 h 326"/>
                <a:gd name="T8" fmla="*/ 1334169885 w 937"/>
                <a:gd name="T9" fmla="*/ 522757726 h 326"/>
                <a:gd name="T10" fmla="*/ 673981114 w 937"/>
                <a:gd name="T11" fmla="*/ 0 h 326"/>
                <a:gd name="T12" fmla="*/ 62385095 w 937"/>
                <a:gd name="T13" fmla="*/ 491791576 h 326"/>
                <a:gd name="T14" fmla="*/ 548530255 w 937"/>
                <a:gd name="T15" fmla="*/ 957093254 h 326"/>
                <a:gd name="T16" fmla="*/ 1037599821 w 937"/>
                <a:gd name="T17" fmla="*/ 1225687750 h 326"/>
                <a:gd name="T18" fmla="*/ 715650536 w 937"/>
                <a:gd name="T19" fmla="*/ 1429016220 h 326"/>
                <a:gd name="T20" fmla="*/ 352033256 w 937"/>
                <a:gd name="T21" fmla="*/ 1125932337 h 326"/>
                <a:gd name="T22" fmla="*/ 4728972 w 937"/>
                <a:gd name="T23" fmla="*/ 1125932337 h 326"/>
                <a:gd name="T24" fmla="*/ 707117927 w 937"/>
                <a:gd name="T25" fmla="*/ 1706716319 h 326"/>
                <a:gd name="T26" fmla="*/ 1384902835 w 937"/>
                <a:gd name="T27" fmla="*/ 1183118711 h 326"/>
                <a:gd name="T28" fmla="*/ 901767805 w 937"/>
                <a:gd name="T29" fmla="*/ 711138951 h 326"/>
                <a:gd name="T30" fmla="*/ 2147483646 w 937"/>
                <a:gd name="T31" fmla="*/ 634436110 h 326"/>
                <a:gd name="T32" fmla="*/ 2147483646 w 937"/>
                <a:gd name="T33" fmla="*/ 634436110 h 326"/>
                <a:gd name="T34" fmla="*/ 2147483646 w 937"/>
                <a:gd name="T35" fmla="*/ 454108485 h 326"/>
                <a:gd name="T36" fmla="*/ 1972169981 w 937"/>
                <a:gd name="T37" fmla="*/ 1067889945 h 326"/>
                <a:gd name="T38" fmla="*/ 2147483646 w 937"/>
                <a:gd name="T39" fmla="*/ 1702328018 h 326"/>
                <a:gd name="T40" fmla="*/ 2147483646 w 937"/>
                <a:gd name="T41" fmla="*/ 1518287469 h 326"/>
                <a:gd name="T42" fmla="*/ 2147483646 w 937"/>
                <a:gd name="T43" fmla="*/ 1518287469 h 326"/>
                <a:gd name="T44" fmla="*/ 2147483646 w 937"/>
                <a:gd name="T45" fmla="*/ 1669346971 h 326"/>
                <a:gd name="T46" fmla="*/ 2147483646 w 937"/>
                <a:gd name="T47" fmla="*/ 1669346971 h 326"/>
                <a:gd name="T48" fmla="*/ 2147483646 w 937"/>
                <a:gd name="T49" fmla="*/ 42033339 h 326"/>
                <a:gd name="T50" fmla="*/ 2147483646 w 937"/>
                <a:gd name="T51" fmla="*/ 42033339 h 326"/>
                <a:gd name="T52" fmla="*/ 2147483646 w 937"/>
                <a:gd name="T53" fmla="*/ 634436110 h 326"/>
                <a:gd name="T54" fmla="*/ 2147483646 w 937"/>
                <a:gd name="T55" fmla="*/ 1456419223 h 326"/>
                <a:gd name="T56" fmla="*/ 2147483646 w 937"/>
                <a:gd name="T57" fmla="*/ 1078984554 h 326"/>
                <a:gd name="T58" fmla="*/ 2147483646 w 937"/>
                <a:gd name="T59" fmla="*/ 702723735 h 326"/>
                <a:gd name="T60" fmla="*/ 2147483646 w 937"/>
                <a:gd name="T61" fmla="*/ 1072587526 h 326"/>
                <a:gd name="T62" fmla="*/ 2147483646 w 937"/>
                <a:gd name="T63" fmla="*/ 1456419223 h 326"/>
                <a:gd name="T64" fmla="*/ 2147483646 w 937"/>
                <a:gd name="T65" fmla="*/ 454108485 h 326"/>
                <a:gd name="T66" fmla="*/ 2147483646 w 937"/>
                <a:gd name="T67" fmla="*/ 1078984554 h 326"/>
                <a:gd name="T68" fmla="*/ 2147483646 w 937"/>
                <a:gd name="T69" fmla="*/ 1702328018 h 326"/>
                <a:gd name="T70" fmla="*/ 2147483646 w 937"/>
                <a:gd name="T71" fmla="*/ 1303534835 h 326"/>
                <a:gd name="T72" fmla="*/ 2147483646 w 937"/>
                <a:gd name="T73" fmla="*/ 1303534835 h 326"/>
                <a:gd name="T74" fmla="*/ 2147483646 w 937"/>
                <a:gd name="T75" fmla="*/ 1456419223 h 326"/>
                <a:gd name="T76" fmla="*/ 2147483646 w 937"/>
                <a:gd name="T77" fmla="*/ 1156886564 h 326"/>
                <a:gd name="T78" fmla="*/ 2147483646 w 937"/>
                <a:gd name="T79" fmla="*/ 1156886564 h 326"/>
                <a:gd name="T80" fmla="*/ 2147483646 w 937"/>
                <a:gd name="T81" fmla="*/ 454108485 h 326"/>
                <a:gd name="T82" fmla="*/ 2147483646 w 937"/>
                <a:gd name="T83" fmla="*/ 953533546 h 326"/>
                <a:gd name="T84" fmla="*/ 2147483646 w 937"/>
                <a:gd name="T85" fmla="*/ 702723735 h 326"/>
                <a:gd name="T86" fmla="*/ 2147483646 w 937"/>
                <a:gd name="T87" fmla="*/ 953533546 h 326"/>
                <a:gd name="T88" fmla="*/ 2147483646 w 937"/>
                <a:gd name="T89" fmla="*/ 953533546 h 326"/>
                <a:gd name="T90" fmla="*/ 2147483646 w 937"/>
                <a:gd name="T91" fmla="*/ 1669346971 h 326"/>
                <a:gd name="T92" fmla="*/ 2147483646 w 937"/>
                <a:gd name="T93" fmla="*/ 1669346971 h 326"/>
                <a:gd name="T94" fmla="*/ 2147483646 w 937"/>
                <a:gd name="T95" fmla="*/ 42033339 h 326"/>
                <a:gd name="T96" fmla="*/ 2147483646 w 937"/>
                <a:gd name="T97" fmla="*/ 42033339 h 326"/>
                <a:gd name="T98" fmla="*/ 2147483646 w 937"/>
                <a:gd name="T99" fmla="*/ 1669346971 h 326"/>
                <a:gd name="T100" fmla="*/ 1507507815 w 937"/>
                <a:gd name="T101" fmla="*/ 1669346971 h 326"/>
                <a:gd name="T102" fmla="*/ 1833453356 w 937"/>
                <a:gd name="T103" fmla="*/ 1669346971 h 326"/>
                <a:gd name="T104" fmla="*/ 1833453356 w 937"/>
                <a:gd name="T105" fmla="*/ 487782985 h 326"/>
                <a:gd name="T106" fmla="*/ 1507507815 w 937"/>
                <a:gd name="T107" fmla="*/ 487782985 h 326"/>
                <a:gd name="T108" fmla="*/ 1507507815 w 937"/>
                <a:gd name="T109" fmla="*/ 1669346971 h 326"/>
                <a:gd name="T110" fmla="*/ 1507507815 w 937"/>
                <a:gd name="T111" fmla="*/ 307968761 h 326"/>
                <a:gd name="T112" fmla="*/ 1833453356 w 937"/>
                <a:gd name="T113" fmla="*/ 307968761 h 326"/>
                <a:gd name="T114" fmla="*/ 1833453356 w 937"/>
                <a:gd name="T115" fmla="*/ 42033339 h 326"/>
                <a:gd name="T116" fmla="*/ 1507507815 w 937"/>
                <a:gd name="T117" fmla="*/ 42033339 h 326"/>
                <a:gd name="T118" fmla="*/ 1507507815 w 937"/>
                <a:gd name="T119" fmla="*/ 307968761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96D2574F-E91E-46FE-B42D-B5DDB55C877C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E75EFCC3-3A40-4159-8123-C21E171D07E3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396373949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9" r:id="rId1"/>
    <p:sldLayoutId id="2147483680" r:id="rId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3"/>
          <p:cNvSpPr/>
          <p:nvPr/>
        </p:nvSpPr>
        <p:spPr bwMode="auto">
          <a:xfrm>
            <a:off x="649288" y="1770107"/>
            <a:ext cx="3889375" cy="376238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kumimoji="0" lang="zh-CN" altLang="fr-FR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FZZhunYuan-M02S" pitchFamily="34" charset="-128"/>
                <a:cs typeface="+mn-cs"/>
              </a:rPr>
              <a:t>价值和益处</a:t>
            </a:r>
          </a:p>
        </p:txBody>
      </p:sp>
      <p:sp>
        <p:nvSpPr>
          <p:cNvPr id="22" name="Rechteck 4"/>
          <p:cNvSpPr>
            <a:spLocks/>
          </p:cNvSpPr>
          <p:nvPr/>
        </p:nvSpPr>
        <p:spPr bwMode="auto">
          <a:xfrm>
            <a:off x="649288" y="2146344"/>
            <a:ext cx="3889375" cy="366553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FZZhunYuan-M02S"/>
              <a:cs typeface="+mn-cs"/>
            </a:endParaRPr>
          </a:p>
        </p:txBody>
      </p:sp>
      <p:sp>
        <p:nvSpPr>
          <p:cNvPr id="23" name="Rechteck 11"/>
          <p:cNvSpPr/>
          <p:nvPr/>
        </p:nvSpPr>
        <p:spPr bwMode="auto">
          <a:xfrm>
            <a:off x="4751388" y="1770106"/>
            <a:ext cx="3889375" cy="38893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zh-CN" altLang="fr-FR" sz="140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FZZhunYuan-M02S"/>
                <a:cs typeface="Arial" charset="0"/>
              </a:rPr>
              <a:t>描述</a:t>
            </a:r>
          </a:p>
        </p:txBody>
      </p:sp>
      <p:sp>
        <p:nvSpPr>
          <p:cNvPr id="24" name="Rechteck 12"/>
          <p:cNvSpPr>
            <a:spLocks/>
          </p:cNvSpPr>
          <p:nvPr/>
        </p:nvSpPr>
        <p:spPr bwMode="auto">
          <a:xfrm>
            <a:off x="4751388" y="2146343"/>
            <a:ext cx="3889375" cy="365283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宋体" charset="-122"/>
              <a:cs typeface="+mn-cs"/>
            </a:endParaRPr>
          </a:p>
        </p:txBody>
      </p: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zh-CN"/>
              <a:t>预计出现备件短缺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62130"/>
            <a:ext cx="7997825" cy="307975"/>
          </a:xfrm>
        </p:spPr>
        <p:txBody>
          <a:bodyPr/>
          <a:lstStyle/>
          <a:p>
            <a:r>
              <a:rPr lang="zh-CN" altLang="fr-FR" dirty="0"/>
              <a:t>新型变频器</a:t>
            </a:r>
            <a:endParaRPr lang="zh-CN" dirty="0"/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68447" y="5901302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>
              <a:defRPr/>
            </a:pPr>
            <a:r>
              <a:rPr kumimoji="0" lang="zh-CN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+mn-cs"/>
              </a:rPr>
              <a:t>价值：</a:t>
            </a:r>
            <a:r>
              <a:rPr lang="en-US" sz="800" dirty="0">
                <a:solidFill>
                  <a:srgbClr val="000000"/>
                </a:solidFill>
                <a:latin typeface="方正准圆简体"/>
                <a:cs typeface="方正准圆简体"/>
              </a:rPr>
              <a:t> </a:t>
            </a:r>
            <a:r>
              <a:rPr lang="en-US" sz="800" dirty="0" err="1">
                <a:solidFill>
                  <a:srgbClr val="000000"/>
                </a:solidFill>
                <a:latin typeface="方正准圆简体"/>
                <a:cs typeface="方正准圆简体"/>
              </a:rPr>
              <a:t>增强维护，优化成本，提高效率</a:t>
            </a:r>
            <a:endParaRPr lang="en-US" sz="800" dirty="0">
              <a:solidFill>
                <a:srgbClr val="000000"/>
              </a:solidFill>
              <a:latin typeface="方正准圆简体"/>
              <a:cs typeface="方正准圆简体"/>
            </a:endParaRPr>
          </a:p>
          <a:p>
            <a:pPr lvl="0">
              <a:defRPr/>
            </a:pPr>
            <a:r>
              <a:rPr kumimoji="0" lang="zh-CN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+mn-cs"/>
              </a:rPr>
              <a:t>设备：</a:t>
            </a:r>
            <a:r>
              <a:rPr lang="en-GB" altLang="fr-FR" sz="800" dirty="0">
                <a:solidFill>
                  <a:srgbClr val="000000"/>
                </a:solidFill>
              </a:rPr>
              <a:t> Packing machines and historical pelletizers</a:t>
            </a:r>
            <a:endParaRPr kumimoji="0" lang="fr-FR" altLang="zh-CN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FZZhunYuan-M02S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+mn-cs"/>
              </a:rPr>
              <a:t>产品目录代码：</a:t>
            </a:r>
            <a:r>
              <a:rPr kumimoji="0" lang="fr-FR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FZZhunYuan-M02S"/>
                <a:cs typeface="+mn-cs"/>
              </a:rPr>
              <a:t>CLC-017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FZZhunYuan-M02S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8447" y="2146343"/>
            <a:ext cx="3866263" cy="22421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100" dirty="0">
                <a:solidFill>
                  <a:srgbClr val="000000"/>
                </a:solidFill>
              </a:rPr>
              <a:t>Latest generation material and available spare parts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100" dirty="0">
                <a:solidFill>
                  <a:srgbClr val="000000"/>
                </a:solidFill>
              </a:rPr>
              <a:t>Performance optimization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100" dirty="0">
                <a:solidFill>
                  <a:srgbClr val="000000"/>
                </a:solidFill>
              </a:rPr>
              <a:t>Increase in viability and productivity, avoids long downtime in case of breakage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100" dirty="0">
                <a:solidFill>
                  <a:srgbClr val="000000"/>
                </a:solidFill>
              </a:rPr>
              <a:t>Autonomy of maintenance staff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100" dirty="0">
                <a:solidFill>
                  <a:srgbClr val="000000"/>
                </a:solidFill>
              </a:rPr>
              <a:t>Increased memory capacity, enabling to handle extra sizes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100" dirty="0">
                <a:solidFill>
                  <a:srgbClr val="000000"/>
                </a:solidFill>
              </a:rPr>
              <a:t>Additional new functions available as an option (fine tuning)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100" dirty="0">
                <a:solidFill>
                  <a:srgbClr val="000000"/>
                </a:solidFill>
              </a:rPr>
              <a:t>Easier diagnosis for maintenance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1388" y="2199168"/>
            <a:ext cx="3910143" cy="6565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200" dirty="0">
                <a:solidFill>
                  <a:srgbClr val="000000"/>
                </a:solidFill>
              </a:rPr>
              <a:t>Supply of new generation of frequency inverters with Sew </a:t>
            </a:r>
            <a:r>
              <a:rPr lang="en-GB" sz="1200" dirty="0" err="1">
                <a:solidFill>
                  <a:srgbClr val="000000"/>
                </a:solidFill>
              </a:rPr>
              <a:t>Movitrac</a:t>
            </a:r>
            <a:r>
              <a:rPr lang="en-GB" sz="1200" dirty="0">
                <a:solidFill>
                  <a:srgbClr val="000000"/>
                </a:solidFill>
              </a:rPr>
              <a:t> inverters, as per our standard</a:t>
            </a:r>
            <a:endParaRPr lang="en-US" sz="1200" dirty="0">
              <a:solidFill>
                <a:srgbClr val="000000"/>
              </a:solidFill>
            </a:endParaRPr>
          </a:p>
          <a:p>
            <a:pPr marL="479810" lvl="2" indent="-136919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175" algn="l"/>
                <a:tab pos="2363332" algn="l"/>
              </a:tabLst>
              <a:defRPr/>
            </a:pPr>
            <a:endParaRPr lang="en-US" altLang="x-none" sz="1100" dirty="0">
              <a:solidFill>
                <a:srgbClr val="000000"/>
              </a:solidFill>
            </a:endParaRPr>
          </a:p>
        </p:txBody>
      </p:sp>
      <p:pic>
        <p:nvPicPr>
          <p:cNvPr id="28" name="Image 5">
            <a:extLst>
              <a:ext uri="{FF2B5EF4-FFF2-40B4-BE49-F238E27FC236}">
                <a16:creationId xmlns:a16="http://schemas.microsoft.com/office/drawing/2014/main" id="{04A8E37D-49D7-4E02-A3C5-9A2CB510151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79159" y="2819821"/>
            <a:ext cx="1015553" cy="2493747"/>
          </a:xfrm>
          <a:prstGeom prst="rect">
            <a:avLst/>
          </a:prstGeom>
        </p:spPr>
      </p:pic>
      <p:sp>
        <p:nvSpPr>
          <p:cNvPr id="29" name="Flèche droite 2">
            <a:extLst>
              <a:ext uri="{FF2B5EF4-FFF2-40B4-BE49-F238E27FC236}">
                <a16:creationId xmlns:a16="http://schemas.microsoft.com/office/drawing/2014/main" id="{54ACF9FF-1220-4A2C-BEBC-485D33048107}"/>
              </a:ext>
            </a:extLst>
          </p:cNvPr>
          <p:cNvSpPr>
            <a:spLocks/>
          </p:cNvSpPr>
          <p:nvPr/>
        </p:nvSpPr>
        <p:spPr>
          <a:xfrm>
            <a:off x="6725452" y="3753498"/>
            <a:ext cx="619053" cy="766910"/>
          </a:xfrm>
          <a:prstGeom prst="rightArrow">
            <a:avLst/>
          </a:prstGeom>
          <a:solidFill>
            <a:srgbClr val="E64B00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/>
          <a:p>
            <a:endParaRPr lang="fr-FR" dirty="0"/>
          </a:p>
        </p:txBody>
      </p:sp>
      <p:pic>
        <p:nvPicPr>
          <p:cNvPr id="30" name="Image 9">
            <a:extLst>
              <a:ext uri="{FF2B5EF4-FFF2-40B4-BE49-F238E27FC236}">
                <a16:creationId xmlns:a16="http://schemas.microsoft.com/office/drawing/2014/main" id="{893E5F58-8B32-4D8E-85D0-0A53A9328FEC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5961"/>
          <a:stretch/>
        </p:blipFill>
        <p:spPr>
          <a:xfrm>
            <a:off x="4817276" y="2835868"/>
            <a:ext cx="1911998" cy="2477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94874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idel_Template_16x9_SHORT_2019</Template>
  <TotalTime>2793</TotalTime>
  <Words>111</Words>
  <Application>Microsoft Office PowerPoint</Application>
  <PresentationFormat>On-screen Show (4:3)</PresentationFormat>
  <Paragraphs>1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宋体</vt:lpstr>
      <vt:lpstr>Arial</vt:lpstr>
      <vt:lpstr>FZZhunYuan-M02S</vt:lpstr>
      <vt:lpstr>Wingdings</vt:lpstr>
      <vt:lpstr>方正准圆简体</vt:lpstr>
      <vt:lpstr>1_NewSidel_Template_4x3_with add layouts</vt:lpstr>
      <vt:lpstr>think-cell Folie</vt:lpstr>
      <vt:lpstr>预计出现备件短缺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&amp;C Commercial Price</dc:title>
  <dc:creator>Luca.Moschini@sidel.com</dc:creator>
  <cp:lastModifiedBy>Sorega, Dan</cp:lastModifiedBy>
  <cp:revision>288</cp:revision>
  <dcterms:created xsi:type="dcterms:W3CDTF">2019-02-20T10:39:16Z</dcterms:created>
  <dcterms:modified xsi:type="dcterms:W3CDTF">2021-03-26T13:19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etDate">
    <vt:lpwstr>2021-03-26T13:19:33Z</vt:lpwstr>
  </property>
  <property fmtid="{D5CDD505-2E9C-101B-9397-08002B2CF9AE}" pid="6" name="MSIP_Label_94480757-a570-4f64-84e7-c5b3ffe9d573_Method">
    <vt:lpwstr>Standard</vt:lpwstr>
  </property>
  <property fmtid="{D5CDD505-2E9C-101B-9397-08002B2CF9AE}" pid="7" name="MSIP_Label_94480757-a570-4f64-84e7-c5b3ffe9d573_Name">
    <vt:lpwstr>General</vt:lpwstr>
  </property>
  <property fmtid="{D5CDD505-2E9C-101B-9397-08002B2CF9AE}" pid="8" name="MSIP_Label_94480757-a570-4f64-84e7-c5b3ffe9d573_SiteId">
    <vt:lpwstr>2390cbd1-e663-4321-bc93-ba298637ce52</vt:lpwstr>
  </property>
  <property fmtid="{D5CDD505-2E9C-101B-9397-08002B2CF9AE}" pid="9" name="MSIP_Label_94480757-a570-4f64-84e7-c5b3ffe9d573_ActionId">
    <vt:lpwstr/>
  </property>
  <property fmtid="{D5CDD505-2E9C-101B-9397-08002B2CF9AE}" pid="10" name="MSIP_Label_94480757-a570-4f64-84e7-c5b3ffe9d573_ContentBits">
    <vt:lpwstr>2</vt:lpwstr>
  </property>
</Properties>
</file>